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5A5A5A"/>
    <a:srgbClr val="767676"/>
    <a:srgbClr val="B7B7B7"/>
    <a:srgbClr val="DCDCDC"/>
    <a:srgbClr val="8D8D8D"/>
    <a:srgbClr val="C60018"/>
    <a:srgbClr val="E5E5E5"/>
    <a:srgbClr val="BDBDBD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1200" y="120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A8E92499-D9ED-4086-A668-D0FD04E05018}"/>
    <pc:docChg chg="delSld">
      <pc:chgData name="Meyer Raphael (PAR-ES)" userId="79615dfe-ed48-4e74-a40f-4f7b034c1c27" providerId="ADAL" clId="{A8E92499-D9ED-4086-A668-D0FD04E05018}" dt="2022-03-09T16:36:41.793" v="0" actId="47"/>
      <pc:docMkLst>
        <pc:docMk/>
      </pc:docMkLst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2868978950" sldId="416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976233813" sldId="417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407174717" sldId="418"/>
        </pc:sldMkLst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67F8163B-AC75-4C3E-8F00-603476E5AA61}"/>
    <pc:docChg chg="custSel modSld">
      <pc:chgData name="Meyer Raphael (PAR-ES)" userId="79615dfe-ed48-4e74-a40f-4f7b034c1c27" providerId="ADAL" clId="{67F8163B-AC75-4C3E-8F00-603476E5AA61}" dt="2023-03-10T13:44:04.552" v="15"/>
      <pc:docMkLst>
        <pc:docMk/>
      </pc:docMkLst>
      <pc:sldChg chg="modSp mod">
        <pc:chgData name="Meyer Raphael (PAR-ES)" userId="79615dfe-ed48-4e74-a40f-4f7b034c1c27" providerId="ADAL" clId="{67F8163B-AC75-4C3E-8F00-603476E5AA61}" dt="2023-03-10T13:44:04.552" v="15"/>
        <pc:sldMkLst>
          <pc:docMk/>
          <pc:sldMk cId="3865012081" sldId="415"/>
        </pc:sldMkLst>
        <pc:spChg chg="mod">
          <ac:chgData name="Meyer Raphael (PAR-ES)" userId="79615dfe-ed48-4e74-a40f-4f7b034c1c27" providerId="ADAL" clId="{67F8163B-AC75-4C3E-8F00-603476E5AA61}" dt="2023-03-10T13:44:04.552" v="15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7F8163B-AC75-4C3E-8F00-603476E5AA61}" dt="2023-03-10T13:42:51.165" v="6"/>
          <ac:spMkLst>
            <pc:docMk/>
            <pc:sldMk cId="3865012081" sldId="415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7F8163B-AC75-4C3E-8F00-603476E5AA61}" dt="2023-03-10T13:42:58.129" v="12" actId="20577"/>
          <ac:spMkLst>
            <pc:docMk/>
            <pc:sldMk cId="3865012081" sldId="415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105DCFF-B028-4B19-B633-C7AB10EE03B9}"/>
    <pc:docChg chg="modSld">
      <pc:chgData name="Meyer Raphael (PAR-ES)" userId="79615dfe-ed48-4e74-a40f-4f7b034c1c27" providerId="ADAL" clId="{B105DCFF-B028-4B19-B633-C7AB10EE03B9}" dt="2023-02-24T14:02:08.610" v="3" actId="27918"/>
      <pc:docMkLst>
        <pc:docMk/>
      </pc:docMkLst>
      <pc:sldChg chg="mod">
        <pc:chgData name="Meyer Raphael (PAR-ES)" userId="79615dfe-ed48-4e74-a40f-4f7b034c1c27" providerId="ADAL" clId="{B105DCFF-B028-4B19-B633-C7AB10EE03B9}" dt="2023-02-24T14:02:08.610" v="3" actId="27918"/>
        <pc:sldMkLst>
          <pc:docMk/>
          <pc:sldMk cId="3865012081" sldId="415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9A00C47-D07F-4C0B-9E51-38C98F48B301}"/>
    <pc:docChg chg="undo custSel addSld delSld modSld">
      <pc:chgData name="Meyer Raphael (PAR-ES)" userId="79615dfe-ed48-4e74-a40f-4f7b034c1c27" providerId="ADAL" clId="{49A00C47-D07F-4C0B-9E51-38C98F48B301}" dt="2023-02-27T10:12:58.700" v="143" actId="27918"/>
      <pc:docMkLst>
        <pc:docMk/>
      </pc:docMkLst>
      <pc:sldChg chg="addSp delSp modSp mod">
        <pc:chgData name="Meyer Raphael (PAR-ES)" userId="79615dfe-ed48-4e74-a40f-4f7b034c1c27" providerId="ADAL" clId="{49A00C47-D07F-4C0B-9E51-38C98F48B301}" dt="2023-02-27T10:12:58.700" v="143" actId="27918"/>
        <pc:sldMkLst>
          <pc:docMk/>
          <pc:sldMk cId="3865012081" sldId="415"/>
        </pc:sldMkLst>
        <pc:spChg chg="add del mod">
          <ac:chgData name="Meyer Raphael (PAR-ES)" userId="79615dfe-ed48-4e74-a40f-4f7b034c1c27" providerId="ADAL" clId="{49A00C47-D07F-4C0B-9E51-38C98F48B301}" dt="2023-02-24T14:10:39.745" v="39" actId="478"/>
          <ac:spMkLst>
            <pc:docMk/>
            <pc:sldMk cId="3865012081" sldId="415"/>
            <ac:spMk id="2" creationId="{C65F094E-485C-93D4-FD21-4EC5371D4536}"/>
          </ac:spMkLst>
        </pc:spChg>
        <pc:spChg chg="mod">
          <ac:chgData name="Meyer Raphael (PAR-ES)" userId="79615dfe-ed48-4e74-a40f-4f7b034c1c27" providerId="ADAL" clId="{49A00C47-D07F-4C0B-9E51-38C98F48B301}" dt="2023-02-24T14:09:51.903" v="36" actId="6549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9A00C47-D07F-4C0B-9E51-38C98F48B301}" dt="2023-02-27T10:09:58.270" v="132" actId="20577"/>
          <ac:spMkLst>
            <pc:docMk/>
            <pc:sldMk cId="3865012081" sldId="415"/>
            <ac:spMk id="11" creationId="{45495507-A500-4876-A7D7-039B7559AD0C}"/>
          </ac:spMkLst>
        </pc:spChg>
        <pc:graphicFrameChg chg="mod">
          <ac:chgData name="Meyer Raphael (PAR-ES)" userId="79615dfe-ed48-4e74-a40f-4f7b034c1c27" providerId="ADAL" clId="{49A00C47-D07F-4C0B-9E51-38C98F48B301}" dt="2023-02-27T10:08:40.816" v="126"/>
          <ac:graphicFrameMkLst>
            <pc:docMk/>
            <pc:sldMk cId="3865012081" sldId="415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49A00C47-D07F-4C0B-9E51-38C98F48B301}" dt="2023-02-24T15:12:36.526" v="117" actId="47"/>
        <pc:sldMkLst>
          <pc:docMk/>
          <pc:sldMk cId="129412210" sldId="416"/>
        </pc:sldMkLst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6C4A0EA-2388-4B74-96B0-FDC2F7AF02B2}"/>
    <pc:docChg chg="custSel addSld delSld modSld sldOrd">
      <pc:chgData name="Meyer Raphael (PAR-ES)" userId="79615dfe-ed48-4e74-a40f-4f7b034c1c27" providerId="ADAL" clId="{66C4A0EA-2388-4B74-96B0-FDC2F7AF02B2}" dt="2022-03-09T16:23:27.109" v="55" actId="27918"/>
      <pc:docMkLst>
        <pc:docMk/>
      </pc:docMkLst>
      <pc:sldChg chg="del">
        <pc:chgData name="Meyer Raphael (PAR-ES)" userId="79615dfe-ed48-4e74-a40f-4f7b034c1c27" providerId="ADAL" clId="{66C4A0EA-2388-4B74-96B0-FDC2F7AF02B2}" dt="2022-03-09T16:15:51.523" v="0" actId="47"/>
        <pc:sldMkLst>
          <pc:docMk/>
          <pc:sldMk cId="1774855510" sldId="414"/>
        </pc:sldMkLst>
      </pc:sldChg>
      <pc:sldChg chg="mod">
        <pc:chgData name="Meyer Raphael (PAR-ES)" userId="79615dfe-ed48-4e74-a40f-4f7b034c1c27" providerId="ADAL" clId="{66C4A0EA-2388-4B74-96B0-FDC2F7AF02B2}" dt="2022-03-09T16:18:35.148" v="24" actId="27918"/>
        <pc:sldMkLst>
          <pc:docMk/>
          <pc:sldMk cId="3865012081" sldId="415"/>
        </pc:sldMkLst>
      </pc:sldChg>
      <pc:sldChg chg="modSp add mod ord">
        <pc:chgData name="Meyer Raphael (PAR-ES)" userId="79615dfe-ed48-4e74-a40f-4f7b034c1c27" providerId="ADAL" clId="{66C4A0EA-2388-4B74-96B0-FDC2F7AF02B2}" dt="2022-03-09T16:18:54.115" v="29"/>
        <pc:sldMkLst>
          <pc:docMk/>
          <pc:sldMk cId="2868978950" sldId="416"/>
        </pc:sldMkLst>
        <pc:spChg chg="mod">
          <ac:chgData name="Meyer Raphael (PAR-ES)" userId="79615dfe-ed48-4e74-a40f-4f7b034c1c27" providerId="ADAL" clId="{66C4A0EA-2388-4B74-96B0-FDC2F7AF02B2}" dt="2022-03-09T16:16:26.111" v="4"/>
          <ac:spMkLst>
            <pc:docMk/>
            <pc:sldMk cId="2868978950" sldId="416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16:51.514" v="5"/>
          <ac:spMkLst>
            <pc:docMk/>
            <pc:sldMk cId="2868978950" sldId="416"/>
            <ac:spMk id="11" creationId="{45495507-A500-4876-A7D7-039B7559AD0C}"/>
          </ac:spMkLst>
        </pc:spChg>
      </pc:sldChg>
      <pc:sldChg chg="modSp add mod">
        <pc:chgData name="Meyer Raphael (PAR-ES)" userId="79615dfe-ed48-4e74-a40f-4f7b034c1c27" providerId="ADAL" clId="{66C4A0EA-2388-4B74-96B0-FDC2F7AF02B2}" dt="2022-03-09T16:21:27.322" v="42" actId="27918"/>
        <pc:sldMkLst>
          <pc:docMk/>
          <pc:sldMk cId="976233813" sldId="417"/>
        </pc:sldMkLst>
        <pc:spChg chg="mod">
          <ac:chgData name="Meyer Raphael (PAR-ES)" userId="79615dfe-ed48-4e74-a40f-4f7b034c1c27" providerId="ADAL" clId="{66C4A0EA-2388-4B74-96B0-FDC2F7AF02B2}" dt="2022-03-09T16:19:41.464" v="30"/>
          <ac:spMkLst>
            <pc:docMk/>
            <pc:sldMk cId="976233813" sldId="417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0:01.271" v="31"/>
          <ac:spMkLst>
            <pc:docMk/>
            <pc:sldMk cId="976233813" sldId="417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1:05.488" v="37" actId="20577"/>
          <ac:spMkLst>
            <pc:docMk/>
            <pc:sldMk cId="976233813" sldId="417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3015967454" sldId="417"/>
        </pc:sldMkLst>
      </pc:sldChg>
      <pc:sldChg chg="modSp add mod">
        <pc:chgData name="Meyer Raphael (PAR-ES)" userId="79615dfe-ed48-4e74-a40f-4f7b034c1c27" providerId="ADAL" clId="{66C4A0EA-2388-4B74-96B0-FDC2F7AF02B2}" dt="2022-03-09T16:23:27.109" v="55" actId="27918"/>
        <pc:sldMkLst>
          <pc:docMk/>
          <pc:sldMk cId="407174717" sldId="418"/>
        </pc:sldMkLst>
        <pc:spChg chg="mod">
          <ac:chgData name="Meyer Raphael (PAR-ES)" userId="79615dfe-ed48-4e74-a40f-4f7b034c1c27" providerId="ADAL" clId="{66C4A0EA-2388-4B74-96B0-FDC2F7AF02B2}" dt="2022-03-09T16:22:17.056" v="43"/>
          <ac:spMkLst>
            <pc:docMk/>
            <pc:sldMk cId="407174717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2:37.624" v="44"/>
          <ac:spMkLst>
            <pc:docMk/>
            <pc:sldMk cId="407174717" sldId="418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2:41.606" v="50" actId="20577"/>
          <ac:spMkLst>
            <pc:docMk/>
            <pc:sldMk cId="407174717" sldId="418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2492649957" sldId="418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4A59743-142D-4CF8-870C-5D2A831C7023}"/>
    <pc:docChg chg="modSld">
      <pc:chgData name="Meyer Raphael (PAR-ES)" userId="79615dfe-ed48-4e74-a40f-4f7b034c1c27" providerId="ADAL" clId="{74A59743-142D-4CF8-870C-5D2A831C7023}" dt="2022-03-09T16:40:35.701" v="36" actId="1037"/>
      <pc:docMkLst>
        <pc:docMk/>
      </pc:docMkLst>
      <pc:sldChg chg="modSp mod">
        <pc:chgData name="Meyer Raphael (PAR-ES)" userId="79615dfe-ed48-4e74-a40f-4f7b034c1c27" providerId="ADAL" clId="{74A59743-142D-4CF8-870C-5D2A831C7023}" dt="2022-03-09T16:40:35.701" v="36" actId="1037"/>
        <pc:sldMkLst>
          <pc:docMk/>
          <pc:sldMk cId="3865012081" sldId="415"/>
        </pc:sldMkLst>
        <pc:spChg chg="mod">
          <ac:chgData name="Meyer Raphael (PAR-ES)" userId="79615dfe-ed48-4e74-a40f-4f7b034c1c27" providerId="ADAL" clId="{74A59743-142D-4CF8-870C-5D2A831C7023}" dt="2022-03-09T16:40:35.701" v="36" actId="1037"/>
          <ac:spMkLst>
            <pc:docMk/>
            <pc:sldMk cId="3865012081" sldId="415"/>
            <ac:spMk id="11" creationId="{45495507-A500-4876-A7D7-039B7559AD0C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8AF8AF8-3015-4A40-885D-1810E82E92DA}"/>
    <pc:docChg chg="delSld">
      <pc:chgData name="Meyer Raphael (PAR-ES)" userId="79615dfe-ed48-4e74-a40f-4f7b034c1c27" providerId="ADAL" clId="{38AF8AF8-3015-4A40-885D-1810E82E92DA}" dt="2022-03-09T15:47:26.635" v="0" actId="47"/>
      <pc:docMkLst>
        <pc:docMk/>
      </pc:docMkLst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247BE269-E262-497B-A794-CF645B369F21}"/>
    <pc:docChg chg="custSel modSld">
      <pc:chgData name="Meyer Raphael (PAR-ES)" userId="79615dfe-ed48-4e74-a40f-4f7b034c1c27" providerId="ADAL" clId="{247BE269-E262-497B-A794-CF645B369F21}" dt="2023-03-10T13:34:56.934" v="19" actId="27918"/>
      <pc:docMkLst>
        <pc:docMk/>
      </pc:docMkLst>
      <pc:sldChg chg="modSp mod">
        <pc:chgData name="Meyer Raphael (PAR-ES)" userId="79615dfe-ed48-4e74-a40f-4f7b034c1c27" providerId="ADAL" clId="{247BE269-E262-497B-A794-CF645B369F21}" dt="2023-03-10T13:34:56.934" v="19" actId="27918"/>
        <pc:sldMkLst>
          <pc:docMk/>
          <pc:sldMk cId="3865012081" sldId="415"/>
        </pc:sldMkLst>
        <pc:spChg chg="mod">
          <ac:chgData name="Meyer Raphael (PAR-ES)" userId="79615dfe-ed48-4e74-a40f-4f7b034c1c27" providerId="ADAL" clId="{247BE269-E262-497B-A794-CF645B369F21}" dt="2023-03-10T13:33:46.878" v="10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247BE269-E262-497B-A794-CF645B369F21}" dt="2023-03-10T13:31:52.425" v="7"/>
          <ac:spMkLst>
            <pc:docMk/>
            <pc:sldMk cId="3865012081" sldId="415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247BE269-E262-497B-A794-CF645B369F21}" dt="2023-03-10T13:33:54.752" v="16" actId="20577"/>
          <ac:spMkLst>
            <pc:docMk/>
            <pc:sldMk cId="3865012081" sldId="415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Weigel Stefan (PAR-EPS)" userId="fd3b2067-2981-4ad8-bf3a-d2e1004e4fa8" providerId="ADAL" clId="{BE300F2E-B45A-4B10-A27E-8E029191EC3E}"/>
    <pc:docChg chg="modSld">
      <pc:chgData name="Weigel Stefan (PAR-EPS)" userId="fd3b2067-2981-4ad8-bf3a-d2e1004e4fa8" providerId="ADAL" clId="{BE300F2E-B45A-4B10-A27E-8E029191EC3E}" dt="2024-02-02T11:33:18.664" v="28" actId="27918"/>
      <pc:docMkLst>
        <pc:docMk/>
      </pc:docMkLst>
      <pc:sldChg chg="mod">
        <pc:chgData name="Weigel Stefan (PAR-EPS)" userId="fd3b2067-2981-4ad8-bf3a-d2e1004e4fa8" providerId="ADAL" clId="{BE300F2E-B45A-4B10-A27E-8E029191EC3E}" dt="2024-02-02T11:33:18.664" v="28" actId="27918"/>
        <pc:sldMkLst>
          <pc:docMk/>
          <pc:sldMk cId="3865012081" sldId="415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20194547626540688"/>
          <c:w val="0.79430876353508262"/>
          <c:h val="0.54899326530717274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data!$C$8</c:f>
              <c:strCache>
                <c:ptCount val="1"/>
                <c:pt idx="0">
                  <c:v>EasyRide</c:v>
                </c:pt>
              </c:strCache>
            </c:strRef>
          </c:tx>
          <c:spPr>
            <a:solidFill>
              <a:srgbClr val="DCDCDC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4.7301999999999997E-2</c:v>
                </c:pt>
                <c:pt idx="6">
                  <c:v>0.80418599999999996</c:v>
                </c:pt>
                <c:pt idx="7">
                  <c:v>3.9528020000000001</c:v>
                </c:pt>
                <c:pt idx="8">
                  <c:v>9.4050329999999995</c:v>
                </c:pt>
                <c:pt idx="9">
                  <c:v>17.491479000000002</c:v>
                </c:pt>
                <c:pt idx="10">
                  <c:v>23.32781200000000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0"/>
          <c:order val="1"/>
          <c:tx>
            <c:strRef>
              <c:f>data!$D$8</c:f>
              <c:strCache>
                <c:ptCount val="1"/>
                <c:pt idx="0">
                  <c:v>sbb.ch and SBB Mobile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0</c:formatCode>
                <c:ptCount val="11"/>
                <c:pt idx="0">
                  <c:v>10.352941</c:v>
                </c:pt>
                <c:pt idx="1">
                  <c:v>13.118081</c:v>
                </c:pt>
                <c:pt idx="2">
                  <c:v>17.974157000000002</c:v>
                </c:pt>
                <c:pt idx="3">
                  <c:v>24.389900000000001</c:v>
                </c:pt>
                <c:pt idx="4">
                  <c:v>32.353721</c:v>
                </c:pt>
                <c:pt idx="5">
                  <c:v>44.220541999999995</c:v>
                </c:pt>
                <c:pt idx="6">
                  <c:v>64.436859999999996</c:v>
                </c:pt>
                <c:pt idx="7">
                  <c:v>51.198005000000002</c:v>
                </c:pt>
                <c:pt idx="8">
                  <c:v>73.108429000000001</c:v>
                </c:pt>
                <c:pt idx="9">
                  <c:v>104.073866</c:v>
                </c:pt>
                <c:pt idx="10">
                  <c:v>126.6753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2"/>
          <c:tx>
            <c:strRef>
              <c:f>data!$E$8</c:f>
              <c:strCache>
                <c:ptCount val="1"/>
                <c:pt idx="0">
                  <c:v>Ticket machines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0</c:formatCode>
                <c:ptCount val="11"/>
                <c:pt idx="0">
                  <c:v>47.852296000000003</c:v>
                </c:pt>
                <c:pt idx="1">
                  <c:v>48.869484999999997</c:v>
                </c:pt>
                <c:pt idx="2">
                  <c:v>47.893855000000002</c:v>
                </c:pt>
                <c:pt idx="3">
                  <c:v>49.305990000000001</c:v>
                </c:pt>
                <c:pt idx="4">
                  <c:v>48.396062999999998</c:v>
                </c:pt>
                <c:pt idx="5">
                  <c:v>46.495206000000003</c:v>
                </c:pt>
                <c:pt idx="6">
                  <c:v>42.206930999999997</c:v>
                </c:pt>
                <c:pt idx="7">
                  <c:v>24.688984000000001</c:v>
                </c:pt>
                <c:pt idx="8">
                  <c:v>24.878795</c:v>
                </c:pt>
                <c:pt idx="9">
                  <c:v>28.877310000000001</c:v>
                </c:pt>
                <c:pt idx="10">
                  <c:v>27.097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4"/>
          <c:order val="3"/>
          <c:tx>
            <c:strRef>
              <c:f>data!$F$8</c:f>
              <c:strCache>
                <c:ptCount val="1"/>
                <c:pt idx="0">
                  <c:v>Counters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9:$F$19</c:f>
              <c:numCache>
                <c:formatCode>0</c:formatCode>
                <c:ptCount val="11"/>
                <c:pt idx="0">
                  <c:v>21.599886000000001</c:v>
                </c:pt>
                <c:pt idx="1">
                  <c:v>20.913478999999999</c:v>
                </c:pt>
                <c:pt idx="2">
                  <c:v>19.757598999999999</c:v>
                </c:pt>
                <c:pt idx="3">
                  <c:v>15.980143999999999</c:v>
                </c:pt>
                <c:pt idx="4">
                  <c:v>14.588436</c:v>
                </c:pt>
                <c:pt idx="5">
                  <c:v>12.655569</c:v>
                </c:pt>
                <c:pt idx="6">
                  <c:v>11.47528</c:v>
                </c:pt>
                <c:pt idx="7">
                  <c:v>5.9818119999999997</c:v>
                </c:pt>
                <c:pt idx="8">
                  <c:v>6.406377</c:v>
                </c:pt>
                <c:pt idx="9">
                  <c:v>8.9507290000000008</c:v>
                </c:pt>
                <c:pt idx="10">
                  <c:v>9.232421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90-400D-B174-6A57E646E29D}"/>
            </c:ext>
          </c:extLst>
        </c:ser>
        <c:ser>
          <c:idx val="3"/>
          <c:order val="4"/>
          <c:tx>
            <c:strRef>
              <c:f>data!$G$8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9:$G$19</c:f>
              <c:numCache>
                <c:formatCode>0</c:formatCode>
                <c:ptCount val="11"/>
                <c:pt idx="0">
                  <c:v>2.101521</c:v>
                </c:pt>
                <c:pt idx="1">
                  <c:v>2.1447330000000058</c:v>
                </c:pt>
                <c:pt idx="2">
                  <c:v>1.9853100000000019</c:v>
                </c:pt>
                <c:pt idx="3">
                  <c:v>2.7727089999999954</c:v>
                </c:pt>
                <c:pt idx="4">
                  <c:v>3.5255739999999989</c:v>
                </c:pt>
                <c:pt idx="5">
                  <c:v>3.9583979999999954</c:v>
                </c:pt>
                <c:pt idx="6">
                  <c:v>4.7055430000000058</c:v>
                </c:pt>
                <c:pt idx="7">
                  <c:v>3.9473689999999948</c:v>
                </c:pt>
                <c:pt idx="8">
                  <c:v>4.2629159999999899</c:v>
                </c:pt>
                <c:pt idx="9">
                  <c:v>5.5397880000000299</c:v>
                </c:pt>
                <c:pt idx="10">
                  <c:v>6.5444120000000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8F-4D85-A5AC-7762F62740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  <c:extLst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9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20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/>
            </a:pPr>
            <a:endParaRPr lang="de-DE"/>
          </a:p>
        </c:txPr>
        <c:crossAx val="96041216"/>
        <c:crosses val="autoZero"/>
        <c:crossBetween val="between"/>
        <c:majorUnit val="50"/>
      </c:valAx>
    </c:plotArea>
    <c:legend>
      <c:legendPos val="b"/>
      <c:layout>
        <c:manualLayout>
          <c:xMode val="edge"/>
          <c:yMode val="edge"/>
          <c:x val="9.9934738459542094E-2"/>
          <c:y val="0.81846637485729923"/>
          <c:w val="0.60351797837061583"/>
          <c:h val="9.4409791314303007E-2"/>
        </c:manualLayout>
      </c:layout>
      <c:overlay val="0"/>
      <c:txPr>
        <a:bodyPr/>
        <a:lstStyle/>
        <a:p>
          <a:pPr>
            <a:defRPr sz="9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501</cdr:x>
      <cdr:y>0.12016</cdr:y>
    </cdr:from>
    <cdr:to>
      <cdr:x>0.16678</cdr:x>
      <cdr:y>0.1604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51413" y="630349"/>
          <a:ext cx="794260" cy="2112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DE" sz="900" dirty="0"/>
            <a:t>Tickets m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252261034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en-US" dirty="0"/>
              <a:t>Ticket sales by sales channel.</a:t>
            </a:r>
            <a:endParaRPr lang="de-CH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1497156" y="6101349"/>
            <a:ext cx="8016328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Other: automatic travelcard renewal, partner sales and Rail Service.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65012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5B1C0B3-9BE2-4EAD-B8A1-3BEFA63779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infopath/2007/PartnerControl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9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Ticket sales by sales channel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cket sales by sales channel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4-02-02T11:5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